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7" r:id="rId2"/>
  </p:sldMasterIdLst>
  <p:notesMasterIdLst>
    <p:notesMasterId r:id="rId5"/>
  </p:notesMasterIdLst>
  <p:handoutMasterIdLst>
    <p:handoutMasterId r:id="rId6"/>
  </p:handoutMasterIdLst>
  <p:sldIdLst>
    <p:sldId id="318" r:id="rId3"/>
    <p:sldId id="384" r:id="rId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8D30A"/>
    <a:srgbClr val="47B256"/>
    <a:srgbClr val="2B6030"/>
    <a:srgbClr val="DD1125"/>
    <a:srgbClr val="F76300"/>
    <a:srgbClr val="0578BA"/>
    <a:srgbClr val="389045"/>
    <a:srgbClr val="397F40"/>
    <a:srgbClr val="40A24E"/>
    <a:srgbClr val="1F7E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7524" autoAdjust="0"/>
    <p:restoredTop sz="98971" autoAdjust="0"/>
  </p:normalViewPr>
  <p:slideViewPr>
    <p:cSldViewPr>
      <p:cViewPr varScale="1">
        <p:scale>
          <a:sx n="109" d="100"/>
          <a:sy n="109" d="100"/>
        </p:scale>
        <p:origin x="-336" y="-36"/>
      </p:cViewPr>
      <p:guideLst>
        <p:guide orient="horz" pos="3929"/>
        <p:guide orient="horz" pos="2024"/>
        <p:guide orient="horz" pos="2478"/>
        <p:guide orient="horz" pos="2931"/>
        <p:guide orient="horz" pos="2251"/>
        <p:guide orient="horz" pos="4156"/>
        <p:guide orient="horz" pos="1207"/>
        <p:guide pos="2880"/>
        <p:guide pos="1791"/>
        <p:guide pos="3651"/>
        <p:guide pos="4059"/>
        <p:guide pos="295"/>
        <p:guide pos="204"/>
        <p:guide pos="269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pPr/>
              <a:t>09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pPr/>
              <a:t>09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5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9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1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jpe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4672" y="-1495"/>
            <a:ext cx="9326880" cy="6998208"/>
          </a:xfrm>
          <a:prstGeom prst="rect">
            <a:avLst/>
          </a:prstGeom>
          <a:solidFill>
            <a:srgbClr val="9ACD3F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6" y="1540933"/>
            <a:ext cx="5374933" cy="1286934"/>
          </a:xfrm>
        </p:spPr>
        <p:txBody>
          <a:bodyPr anchor="ctr">
            <a:normAutofit/>
          </a:bodyPr>
          <a:lstStyle>
            <a:lvl1pPr>
              <a:defRPr sz="2400" baseline="0"/>
            </a:lvl1pPr>
          </a:lstStyle>
          <a:p>
            <a:r>
              <a:rPr lang="ru-RU" dirty="0" smtClean="0"/>
              <a:t>Закрывающий слайд презентации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4068" y="3462867"/>
            <a:ext cx="2818050" cy="2277534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dirty="0" smtClean="0"/>
              <a:t>Текст закрывающего слайда, реквизиты, контактная информация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61682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2090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xmlns="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xmlns="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6965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3114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xmlns="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xmlns="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xmlns="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50163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4138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xmlns="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xmlns="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xmlns="" val="1331320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p:oleObj spid="_x0000_s5162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xmlns="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42822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p:oleObj spid="_x0000_s6186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5854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60492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7210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24836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20090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20282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16960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6808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22508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695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421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745333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9" Type="http://schemas.openxmlformats.org/officeDocument/2006/relationships/tags" Target="../tags/tag26.xml"/><Relationship Id="rId21" Type="http://schemas.openxmlformats.org/officeDocument/2006/relationships/tags" Target="../tags/tag8.xml"/><Relationship Id="rId34" Type="http://schemas.openxmlformats.org/officeDocument/2006/relationships/tags" Target="../tags/tag21.xml"/><Relationship Id="rId42" Type="http://schemas.openxmlformats.org/officeDocument/2006/relationships/tags" Target="../tags/tag29.xml"/><Relationship Id="rId47" Type="http://schemas.openxmlformats.org/officeDocument/2006/relationships/tags" Target="../tags/tag34.xml"/><Relationship Id="rId50" Type="http://schemas.openxmlformats.org/officeDocument/2006/relationships/tags" Target="../tags/tag37.xml"/><Relationship Id="rId55" Type="http://schemas.openxmlformats.org/officeDocument/2006/relationships/tags" Target="../tags/tag42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tags" Target="../tags/tag33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41" Type="http://schemas.openxmlformats.org/officeDocument/2006/relationships/tags" Target="../tags/tag28.xml"/><Relationship Id="rId54" Type="http://schemas.openxmlformats.org/officeDocument/2006/relationships/tags" Target="../tags/tag41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45" Type="http://schemas.openxmlformats.org/officeDocument/2006/relationships/tags" Target="../tags/tag32.xml"/><Relationship Id="rId53" Type="http://schemas.openxmlformats.org/officeDocument/2006/relationships/tags" Target="../tags/tag40.xml"/><Relationship Id="rId58" Type="http://schemas.openxmlformats.org/officeDocument/2006/relationships/image" Target="../media/image5.png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49" Type="http://schemas.openxmlformats.org/officeDocument/2006/relationships/tags" Target="../tags/tag36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4" Type="http://schemas.openxmlformats.org/officeDocument/2006/relationships/tags" Target="../tags/tag31.xml"/><Relationship Id="rId52" Type="http://schemas.openxmlformats.org/officeDocument/2006/relationships/tags" Target="../tags/tag39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tags" Target="../tags/tag30.xml"/><Relationship Id="rId48" Type="http://schemas.openxmlformats.org/officeDocument/2006/relationships/tags" Target="../tags/tag35.xml"/><Relationship Id="rId56" Type="http://schemas.openxmlformats.org/officeDocument/2006/relationships/tags" Target="../tags/tag43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38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p:oleObj spid="_x0000_s1067" name="think-cell Slide" r:id="rId57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xmlns="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xmlns="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xmlns="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xmlns="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xmlns="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xmlns="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xmlns="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xmlns="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xmlns="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xmlns="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xmlns="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xmlns="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xmlns="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xmlns="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xmlns="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xmlns="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xmlns="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xmlns="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xmlns="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xmlns="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xmlns="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7" r="2931" b="17243"/>
          <a:stretch/>
        </p:blipFill>
        <p:spPr>
          <a:xfrm>
            <a:off x="-1534886" y="-24383"/>
            <a:ext cx="12475351" cy="705378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484882" y="1049846"/>
            <a:ext cx="6567161" cy="4580318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63688" y="2013853"/>
            <a:ext cx="546423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Комплексное развитие сельских территорий.</a:t>
            </a:r>
          </a:p>
          <a:p>
            <a:r>
              <a:rPr lang="ru-RU" sz="2000" b="1" dirty="0" smtClean="0">
                <a:solidFill>
                  <a:schemeClr val="bg1"/>
                </a:solidFill>
              </a:rPr>
              <a:t>Программа </a:t>
            </a:r>
            <a:r>
              <a:rPr lang="ru-RU" sz="2000" b="1" dirty="0">
                <a:solidFill>
                  <a:schemeClr val="bg1"/>
                </a:solidFill>
              </a:rPr>
              <a:t>льготного кредитования на развитие инженерной и транспортной инфраструктуры, строительство жилых зданий по льготной ставке </a:t>
            </a:r>
            <a:r>
              <a:rPr lang="ru-RU" sz="2000" b="1" dirty="0" smtClean="0">
                <a:solidFill>
                  <a:schemeClr val="bg1"/>
                </a:solidFill>
              </a:rPr>
              <a:t>(Постановление Правительства РФ № 1804)</a:t>
            </a:r>
            <a:endParaRPr lang="ru-RU" sz="2000" b="1" dirty="0">
              <a:solidFill>
                <a:schemeClr val="bg1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484882" y="1531266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484882" y="4733048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F:\RMB\УПРАВЛЕНИЕ РАЗВИТИЯ МБ\1. ЛИЧНЫЕ ПАПКИ\Ефимова\Презентации ДММБ\Шаблоны_логотип\логотип_фирменная_плашка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826493" y="188640"/>
            <a:ext cx="2451100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7629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 3"/>
          <p:cNvSpPr txBox="1">
            <a:spLocks/>
          </p:cNvSpPr>
          <p:nvPr/>
        </p:nvSpPr>
        <p:spPr>
          <a:xfrm>
            <a:off x="6959679" y="6536938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Rounded Rectangle 507"/>
          <p:cNvSpPr/>
          <p:nvPr/>
        </p:nvSpPr>
        <p:spPr>
          <a:xfrm>
            <a:off x="190236" y="5973736"/>
            <a:ext cx="8414616" cy="680457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 w="1905"/>
              <a:gradFill>
                <a:gsLst>
                  <a:gs pos="0">
                    <a:srgbClr val="F79646">
                      <a:shade val="20000"/>
                      <a:satMod val="200000"/>
                    </a:srgbClr>
                  </a:gs>
                  <a:gs pos="78000">
                    <a:srgbClr val="F79646">
                      <a:tint val="90000"/>
                      <a:shade val="89000"/>
                      <a:satMod val="220000"/>
                    </a:srgbClr>
                  </a:gs>
                  <a:gs pos="100000">
                    <a:srgbClr val="F79646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Прямоугольник 41"/>
          <p:cNvSpPr>
            <a:spLocks noChangeArrowheads="1"/>
          </p:cNvSpPr>
          <p:nvPr/>
        </p:nvSpPr>
        <p:spPr bwMode="auto">
          <a:xfrm>
            <a:off x="120765" y="571489"/>
            <a:ext cx="5924981" cy="5499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/>
          <a:p>
            <a:pPr lvl="0"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грамма льготного кредит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 развитие инженерной и транспортной инфраструктуры, строительство жилых зданий по льготной ставке (1804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Rectangle 122"/>
          <p:cNvSpPr/>
          <p:nvPr/>
        </p:nvSpPr>
        <p:spPr>
          <a:xfrm>
            <a:off x="4605592" y="3861048"/>
            <a:ext cx="4388339" cy="2376264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ый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ниматель или </a:t>
            </a:r>
            <a:r>
              <a:rPr lang="ru-R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,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ованные на сельских территориях (сельских </a:t>
            </a:r>
            <a:r>
              <a:rPr lang="ru-R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ломерациях)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логовый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зидент РФ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иным платежам в бюджет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 банкротства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 ликвидации,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организаци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20766" y="1378893"/>
            <a:ext cx="4383702" cy="4858419"/>
            <a:chOff x="235562" y="1378893"/>
            <a:chExt cx="4269763" cy="4858419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235562" y="1378893"/>
              <a:ext cx="4269763" cy="953496"/>
              <a:chOff x="4583573" y="2000976"/>
              <a:chExt cx="4269763" cy="1017528"/>
            </a:xfrm>
          </p:grpSpPr>
          <p:sp>
            <p:nvSpPr>
              <p:cNvPr id="60" name="Right Arrow 11"/>
              <p:cNvSpPr/>
              <p:nvPr/>
            </p:nvSpPr>
            <p:spPr>
              <a:xfrm>
                <a:off x="4583573" y="2000976"/>
                <a:ext cx="1363930" cy="953496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Льготное кредитование АПК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Right Arrow 89"/>
              <p:cNvSpPr/>
              <p:nvPr/>
            </p:nvSpPr>
            <p:spPr>
              <a:xfrm>
                <a:off x="6033138" y="2039130"/>
                <a:ext cx="2820198" cy="979374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defTabSz="914206"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Кредитование 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П или организаций, зарегистрированных </a:t>
                </a:r>
                <a:r>
                  <a:rPr lang="ru-RU" sz="11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 сельских территориях (сельских агломерациях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 по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льготной ставке</a:t>
                </a:r>
              </a:p>
            </p:txBody>
          </p:sp>
        </p:grpSp>
        <p:grpSp>
          <p:nvGrpSpPr>
            <p:cNvPr id="9" name="Группа 8"/>
            <p:cNvGrpSpPr/>
            <p:nvPr/>
          </p:nvGrpSpPr>
          <p:grpSpPr>
            <a:xfrm>
              <a:off x="265404" y="4091931"/>
              <a:ext cx="4239921" cy="347223"/>
              <a:chOff x="4397543" y="3911183"/>
              <a:chExt cx="4239921" cy="347223"/>
            </a:xfrm>
          </p:grpSpPr>
          <p:sp>
            <p:nvSpPr>
              <p:cNvPr id="61" name="Right Arrow 82"/>
              <p:cNvSpPr/>
              <p:nvPr/>
            </p:nvSpPr>
            <p:spPr>
              <a:xfrm>
                <a:off x="4397543" y="3911183"/>
                <a:ext cx="1328485" cy="347223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тавка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" name="Right Arrow 96"/>
              <p:cNvSpPr/>
              <p:nvPr/>
            </p:nvSpPr>
            <p:spPr>
              <a:xfrm>
                <a:off x="5817266" y="3911183"/>
                <a:ext cx="2820198" cy="347223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Не более 5% годовых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Группа 7"/>
            <p:cNvGrpSpPr/>
            <p:nvPr/>
          </p:nvGrpSpPr>
          <p:grpSpPr>
            <a:xfrm>
              <a:off x="267733" y="3182223"/>
              <a:ext cx="4237592" cy="818408"/>
              <a:chOff x="4588926" y="2979769"/>
              <a:chExt cx="4237592" cy="818408"/>
            </a:xfrm>
          </p:grpSpPr>
          <p:sp>
            <p:nvSpPr>
              <p:cNvPr id="62" name="Right Arrow 95"/>
              <p:cNvSpPr/>
              <p:nvPr/>
            </p:nvSpPr>
            <p:spPr>
              <a:xfrm>
                <a:off x="4588926" y="2979769"/>
                <a:ext cx="1331759" cy="801157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роки кредитования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Right Arrow 136"/>
              <p:cNvSpPr/>
              <p:nvPr/>
            </p:nvSpPr>
            <p:spPr>
              <a:xfrm>
                <a:off x="6006321" y="2997020"/>
                <a:ext cx="2820197" cy="801157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defTabSz="914206">
                  <a:defRPr/>
                </a:pP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До 5 </a:t>
                </a:r>
                <a:r>
                  <a:rPr lang="ru-RU" sz="1100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лет 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 </a:t>
                </a:r>
                <a:r>
                  <a:rPr lang="ru-RU" sz="11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развитие инженерной и транспортной инфраструктуры, строительство жилых зданий </a:t>
                </a:r>
                <a:endParaRPr kumimoji="0" lang="ru-RU" sz="110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Группа 9"/>
            <p:cNvGrpSpPr/>
            <p:nvPr/>
          </p:nvGrpSpPr>
          <p:grpSpPr>
            <a:xfrm>
              <a:off x="267733" y="4581127"/>
              <a:ext cx="4237592" cy="1656185"/>
              <a:chOff x="4494313" y="4484711"/>
              <a:chExt cx="4237592" cy="1174105"/>
            </a:xfrm>
          </p:grpSpPr>
          <p:sp>
            <p:nvSpPr>
              <p:cNvPr id="66" name="Right Arrow 45"/>
              <p:cNvSpPr/>
              <p:nvPr/>
            </p:nvSpPr>
            <p:spPr>
              <a:xfrm>
                <a:off x="5911707" y="4484711"/>
                <a:ext cx="2820198" cy="1174105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 Перечень целевого направления кредитов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граничен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 Требуется </a:t>
                </a:r>
                <a:r>
                  <a: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огласование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Минсельхоза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defTabSz="914206"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 Требуется регулярно подтверждать отсутствие задолженности по налогам и </a:t>
                </a: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борам</a:t>
                </a:r>
              </a:p>
              <a:p>
                <a:pPr marL="171450" lvl="0" indent="-171450" defTabSz="914206">
                  <a:buFontTx/>
                  <a:buChar char="-"/>
                  <a:defRPr/>
                </a:pP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язательство </a:t>
                </a:r>
                <a:r>
                  <a:rPr lang="ru-RU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заемщика по </a:t>
                </a: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озданию</a:t>
                </a:r>
              </a:p>
              <a:p>
                <a:pPr lvl="0" defTabSz="914206">
                  <a:defRPr/>
                </a:pP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 </a:t>
                </a:r>
                <a:r>
                  <a:rPr lang="ru-RU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ериод срока </a:t>
                </a: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кредитования новых </a:t>
                </a:r>
                <a:r>
                  <a:rPr lang="ru-RU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стоянных рабочих мест на сельской территории (сельской агломерации)</a:t>
                </a:r>
                <a:endPara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7" name="Right Arrow 46"/>
              <p:cNvSpPr/>
              <p:nvPr/>
            </p:nvSpPr>
            <p:spPr>
              <a:xfrm>
                <a:off x="4494313" y="4484711"/>
                <a:ext cx="1328485" cy="1174105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собые условия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" name="Группа 40"/>
            <p:cNvGrpSpPr/>
            <p:nvPr/>
          </p:nvGrpSpPr>
          <p:grpSpPr>
            <a:xfrm>
              <a:off x="235562" y="2422827"/>
              <a:ext cx="4269763" cy="654190"/>
              <a:chOff x="106686" y="2054504"/>
              <a:chExt cx="4269763" cy="654190"/>
            </a:xfrm>
          </p:grpSpPr>
          <p:sp>
            <p:nvSpPr>
              <p:cNvPr id="42" name="Right Arrow 11"/>
              <p:cNvSpPr/>
              <p:nvPr/>
            </p:nvSpPr>
            <p:spPr>
              <a:xfrm>
                <a:off x="106686" y="2054506"/>
                <a:ext cx="1363929" cy="654188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Нормативные документы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Right Arrow 89"/>
              <p:cNvSpPr/>
              <p:nvPr/>
            </p:nvSpPr>
            <p:spPr>
              <a:xfrm>
                <a:off x="1556251" y="2054504"/>
                <a:ext cx="2820198" cy="654189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10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3300"/>
                  </a:buClr>
                  <a:buSzPct val="150000"/>
                  <a:buFontTx/>
                  <a:buNone/>
                  <a:tabLst/>
                  <a:defRPr/>
                </a:pP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Постановление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Правительства </a:t>
                </a: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№1804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т 24.12.2019г. 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6527720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29365" y="1253378"/>
            <a:ext cx="9014635" cy="87390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593347" y="3391342"/>
            <a:ext cx="4412828" cy="382917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Требования к клиенту</a:t>
            </a:r>
            <a:endParaRPr lang="ru-RU" sz="14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576049" y="1414646"/>
            <a:ext cx="4417882" cy="382917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ПРЕИМУЩЕСТВА</a:t>
            </a:r>
            <a:endParaRPr lang="ru-RU" sz="14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Rectangle 122"/>
          <p:cNvSpPr/>
          <p:nvPr/>
        </p:nvSpPr>
        <p:spPr>
          <a:xfrm>
            <a:off x="4605592" y="1873517"/>
            <a:ext cx="4417882" cy="1328099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сширен перечень целевого</a:t>
            </a:r>
            <a:r>
              <a:rPr kumimoji="0" lang="ru-RU" sz="1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использования льготного финансирования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,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, модернизация,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 объектов инженерной инфраструктуры </a:t>
            </a:r>
            <a:endParaRPr lang="ru-RU" sz="1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,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,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 автомобильных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г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жилых помещений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17181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РоссельхозБанк (RSHB) 4x3.potx" id="{71569C02-40C5-4F2D-ADBB-DC173588E1BF}" vid="{C5B0BF87-2EF8-46AB-9EA0-C4F2E2C11BC1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78</TotalTime>
  <Words>216</Words>
  <Application>Microsoft Office PowerPoint</Application>
  <PresentationFormat>Экран (4:3)</PresentationFormat>
  <Paragraphs>30</Paragraphs>
  <Slides>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5" baseType="lpstr">
      <vt:lpstr>Тема Office</vt:lpstr>
      <vt:lpstr>45_Firm Format - template_Blue</vt:lpstr>
      <vt:lpstr>think-cell Slide</vt:lpstr>
      <vt:lpstr>Слайд 1</vt:lpstr>
      <vt:lpstr>Слайд 2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user</cp:lastModifiedBy>
  <cp:revision>694</cp:revision>
  <cp:lastPrinted>2020-03-04T17:21:18Z</cp:lastPrinted>
  <dcterms:created xsi:type="dcterms:W3CDTF">2016-10-06T10:10:33Z</dcterms:created>
  <dcterms:modified xsi:type="dcterms:W3CDTF">2020-10-09T11:47:33Z</dcterms:modified>
</cp:coreProperties>
</file>